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61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0" autoAdjust="0"/>
    <p:restoredTop sz="94660"/>
  </p:normalViewPr>
  <p:slideViewPr>
    <p:cSldViewPr snapToGrid="0" showGuides="1">
      <p:cViewPr varScale="1">
        <p:scale>
          <a:sx n="94" d="100"/>
          <a:sy n="94" d="100"/>
        </p:scale>
        <p:origin x="760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369759"/>
            <a:ext cx="4791301" cy="25026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1071184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31" y="107118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360051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107540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12175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371578"/>
            <a:ext cx="4768651" cy="1704425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867038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4702625"/>
            <a:ext cx="4791301" cy="147919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214175" y="4238696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7" y="1071184"/>
            <a:ext cx="4791301" cy="1071121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360051"/>
            <a:ext cx="4791301" cy="2502683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080480"/>
            <a:ext cx="4791301" cy="109724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359083"/>
            <a:ext cx="4791301" cy="17169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51626" y="4702625"/>
            <a:ext cx="4791301" cy="1475102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57555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3/31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ABE1E-FC35-4A90-A92B-562F29CAEA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ABE1E-FC35-4A90-A92B-562F29CA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0F6E74-6A4D-431F-BA73-3535E3FD7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ønnens fuldmagt fra Fader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DCC025-D59F-4502-BB8B-94022A6B8EEB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da-DK" dirty="0"/>
              <a:t>Jøderne anklager Jesus for at bryde sabbatten ved at helbrede en lam mand og for at være blasfemisk ved at kalde Gud sin far. </a:t>
            </a:r>
          </a:p>
          <a:p>
            <a:r>
              <a:rPr lang="da-DK" dirty="0"/>
              <a:t>Til det siger Jesus, at Han er et med Gud, og at han har fået magt til at oprejse os fra døden og magt til at dømme os efter døden. </a:t>
            </a:r>
          </a:p>
          <a:p>
            <a:r>
              <a:rPr lang="da-DK" dirty="0"/>
              <a:t>Troen på Jesus betyder imidlertid, at vi ikke dømmes efter døden, men allerede nu kan leve i fred med Gud, da Jesus har taget vores straf ved at dø på korset. </a:t>
            </a:r>
          </a:p>
          <a:p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3E0D4-EC35-4F1A-A6E4-6416763844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Joh 5, 18-30</a:t>
            </a:r>
          </a:p>
          <a:p>
            <a:r>
              <a:rPr lang="da-DK" dirty="0"/>
              <a:t>For Faderen elsker Sønnen og viser ham alt, hvad han selv gør; og han skal vise ham endnu større gerninger, så I skal undre jer (vers 20)</a:t>
            </a:r>
            <a:endParaRPr lang="da-DK" sz="1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E60D80-B622-4C30-ACD3-75721B62CC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Vi kan leve i fred og frihed, da Jesus har overvundet både døden og dommen.</a:t>
            </a:r>
          </a:p>
          <a:p>
            <a:r>
              <a:rPr lang="da-DK" dirty="0"/>
              <a:t>Det evige liv, sov vi skal have med Gud engang, starter her og nu i efterfølgelse af Kristus.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995B05-EC0D-47EB-8EF3-6BE250458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/>
              <a:t>Hvordan kan vi leve som Jesus – ét med Faderen?</a:t>
            </a:r>
          </a:p>
          <a:p>
            <a:r>
              <a:rPr lang="da-DK" dirty="0"/>
              <a:t>Hvordan kan vi vide, hvad Guds vilje er, så vi kan leve i den?</a:t>
            </a:r>
          </a:p>
          <a:p>
            <a:r>
              <a:rPr lang="da-DK" dirty="0"/>
              <a:t>Hvad ønsker Jesus at sige til vores frygt for fremtiden, døden og dommen?</a:t>
            </a:r>
          </a:p>
          <a:p>
            <a:endParaRPr lang="da-D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352954E-F7CA-466E-9B7A-38F723224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930441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ECC0DA-63BF-4B80-9523-72745E560A0A}">
  <ds:schemaRefs>
    <ds:schemaRef ds:uri="http://www.w3.org/XML/1998/namespace"/>
    <ds:schemaRef ds:uri="http://purl.org/dc/dcmitype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83b4fc67-7e4d-4af3-b66e-0e0e8a1422f6"/>
    <ds:schemaRef ds:uri="http://purl.org/dc/terms/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83b4fc67-7e4d-4af3-b66e-0e0e8a1422f6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5</TotalTime>
  <Words>214</Words>
  <Application>Microsoft Macintosh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6" baseType="lpstr">
      <vt:lpstr>Century Gothic</vt:lpstr>
      <vt:lpstr>Verdana</vt:lpstr>
      <vt:lpstr>Wingdings 3</vt:lpstr>
      <vt:lpstr>Wisp</vt:lpstr>
      <vt:lpstr>think-cell Slide</vt:lpstr>
      <vt:lpstr>Sønnens fuldmagt fra Faderen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HAE (Jonas Hauschildt Andersen)</dc:creator>
  <cp:lastModifiedBy>Microsoft Office-bruger</cp:lastModifiedBy>
  <cp:revision>22</cp:revision>
  <dcterms:created xsi:type="dcterms:W3CDTF">2019-08-19T18:08:22Z</dcterms:created>
  <dcterms:modified xsi:type="dcterms:W3CDTF">2020-03-31T06:14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